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4" r:id="rId1"/>
    <p:sldMasterId id="2147483688" r:id="rId2"/>
  </p:sldMasterIdLst>
  <p:notesMasterIdLst>
    <p:notesMasterId r:id="rId10"/>
  </p:notesMasterIdLst>
  <p:sldIdLst>
    <p:sldId id="367" r:id="rId3"/>
    <p:sldId id="368" r:id="rId4"/>
    <p:sldId id="369" r:id="rId5"/>
    <p:sldId id="375" r:id="rId6"/>
    <p:sldId id="378" r:id="rId7"/>
    <p:sldId id="377" r:id="rId8"/>
    <p:sldId id="379" r:id="rId9"/>
  </p:sldIdLst>
  <p:sldSz cx="12192000" cy="6858000"/>
  <p:notesSz cx="6797675" cy="992505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Montserrat" panose="020B060402020202020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D28D8F7-C47A-455F-A030-474D414AFF9D}">
          <p14:sldIdLst>
            <p14:sldId id="367"/>
            <p14:sldId id="368"/>
            <p14:sldId id="369"/>
            <p14:sldId id="375"/>
            <p14:sldId id="378"/>
            <p14:sldId id="377"/>
            <p14:sldId id="379"/>
          </p14:sldIdLst>
        </p14:section>
      </p14:sectionLst>
    </p:ext>
    <p:ext uri="{EFAFB233-063F-42B5-8137-9DF3F51BA10A}">
      <p15:sldGuideLst xmlns:p15="http://schemas.microsoft.com/office/powerpoint/2012/main">
        <p15:guide id="2" pos="393" userDrawn="1">
          <p15:clr>
            <a:srgbClr val="A4A3A4"/>
          </p15:clr>
        </p15:guide>
        <p15:guide id="3" orient="horz" pos="1979" userDrawn="1">
          <p15:clr>
            <a:srgbClr val="A4A3A4"/>
          </p15:clr>
        </p15:guide>
        <p15:guide id="5" orient="horz" pos="3906" userDrawn="1">
          <p15:clr>
            <a:srgbClr val="A4A3A4"/>
          </p15:clr>
        </p15:guide>
        <p15:guide id="6" pos="6176" userDrawn="1">
          <p15:clr>
            <a:srgbClr val="A4A3A4"/>
          </p15:clr>
        </p15:guide>
        <p15:guide id="7" pos="3454" userDrawn="1">
          <p15:clr>
            <a:srgbClr val="A4A3A4"/>
          </p15:clr>
        </p15:guide>
        <p15:guide id="8" orient="horz" pos="2954" userDrawn="1">
          <p15:clr>
            <a:srgbClr val="A4A3A4"/>
          </p15:clr>
        </p15:guide>
        <p15:guide id="9" orient="horz" pos="37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ina Alieva (RU)" initials="FA(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D1E7"/>
    <a:srgbClr val="E7E9F3"/>
    <a:srgbClr val="DEDEDE"/>
    <a:srgbClr val="8AC2E2"/>
    <a:srgbClr val="000099"/>
    <a:srgbClr val="003977"/>
    <a:srgbClr val="0000FF"/>
    <a:srgbClr val="2A385E"/>
    <a:srgbClr val="F27E00"/>
    <a:srgbClr val="0079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78" autoAdjust="0"/>
    <p:restoredTop sz="94837" autoAdjust="0"/>
  </p:normalViewPr>
  <p:slideViewPr>
    <p:cSldViewPr snapToGrid="0" showGuides="1">
      <p:cViewPr varScale="1">
        <p:scale>
          <a:sx n="123" d="100"/>
          <a:sy n="123" d="100"/>
        </p:scale>
        <p:origin x="90" y="96"/>
      </p:cViewPr>
      <p:guideLst>
        <p:guide pos="393"/>
        <p:guide orient="horz" pos="1979"/>
        <p:guide orient="horz" pos="3906"/>
        <p:guide pos="6176"/>
        <p:guide pos="3454"/>
        <p:guide orient="horz" pos="2954"/>
        <p:guide orient="horz" pos="3748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6.fntdata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1.fntdata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font" Target="fonts/font5.fntdata"/><Relationship Id="rId23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4.fntdata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7976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7976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r">
              <a:defRPr sz="1200"/>
            </a:lvl1pPr>
          </a:lstStyle>
          <a:p>
            <a:fld id="{B3F2FE70-2686-4236-85E2-CF27A702D201}" type="datetimeFigureOut">
              <a:rPr lang="ru-RU" smtClean="0"/>
              <a:t>22.01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5" tIns="45642" rIns="91285" bIns="4564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6431"/>
            <a:ext cx="5438140" cy="3907988"/>
          </a:xfrm>
          <a:prstGeom prst="rect">
            <a:avLst/>
          </a:prstGeom>
        </p:spPr>
        <p:txBody>
          <a:bodyPr vert="horz" lIns="91285" tIns="45642" rIns="91285" bIns="4564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7076"/>
            <a:ext cx="2945659" cy="49797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7076"/>
            <a:ext cx="2945659" cy="49797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r">
              <a:defRPr sz="1200"/>
            </a:lvl1pPr>
          </a:lstStyle>
          <a:p>
            <a:fld id="{F7804391-3690-4BD8-ADFF-009F3532D2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8933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атом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sp>
        <p:nvSpPr>
          <p:cNvPr id="6" name="Прямоугольник 5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55BB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654" b="46857"/>
          <a:stretch/>
        </p:blipFill>
        <p:spPr>
          <a:xfrm>
            <a:off x="8040340" y="-1"/>
            <a:ext cx="4151660" cy="12239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1108156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accent2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964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атом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sp>
        <p:nvSpPr>
          <p:cNvPr id="6" name="Прямоугольник 5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55BB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654" b="46857"/>
          <a:stretch/>
        </p:blipFill>
        <p:spPr>
          <a:xfrm>
            <a:off x="8040340" y="-1"/>
            <a:ext cx="4151660" cy="12239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1108156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accent2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73966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9A089F-BBAD-40D5-B4C5-04A3D7A608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9A089F-BBAD-40D5-B4C5-04A3D7A608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99890" cy="523220"/>
          </a:xfrm>
          <a:prstGeom prst="rect">
            <a:avLst/>
          </a:prstGeom>
        </p:spPr>
        <p:txBody>
          <a:bodyPr vert="horz" wrap="square" lIns="0" rIns="0" anchor="ctr">
            <a:spAutoFit/>
          </a:bodyPr>
          <a:lstStyle>
            <a:lvl1pPr>
              <a:lnSpc>
                <a:spcPct val="100000"/>
              </a:lnSpc>
              <a:defRPr sz="2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endParaRPr lang="ru-RU" sz="2800" b="1" kern="1200" dirty="0">
              <a:solidFill>
                <a:srgbClr val="0055BB"/>
              </a:solidFill>
              <a:latin typeface="Montserrat" panose="00000500000000000000" pitchFamily="2" charset="-52"/>
              <a:ea typeface="+mj-ea"/>
              <a:cs typeface="+mj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138" y="170399"/>
            <a:ext cx="1656000" cy="883200"/>
          </a:xfrm>
          <a:prstGeom prst="rect">
            <a:avLst/>
          </a:prstGeom>
        </p:spPr>
      </p:pic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-2009457" y="1613180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491393" y="6296025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9A2839-71AE-43FF-AE16-27D033107267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3042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синя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762" y="170399"/>
            <a:ext cx="1656000" cy="8832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73513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43DE57E-711D-404D-B188-192C4B659303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8674095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8900951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E46C2A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956" y="-135287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00D0962-6951-42C9-AAB7-A8419B4562CD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8789063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сер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DD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03283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0055BB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525956" y="-144001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2077ADA-551A-4656-A047-B811D4148796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428056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94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60194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3837227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69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5904468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9CD2FE-B625-4542-8023-6997F6AA9102}"/>
              </a:ext>
            </a:extLst>
          </p:cNvPr>
          <p:cNvSpPr/>
          <p:nvPr userDrawn="1"/>
        </p:nvSpPr>
        <p:spPr>
          <a:xfrm>
            <a:off x="0" y="6273800"/>
            <a:ext cx="122682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5070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6418217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6418217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6418217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9250"/>
            <a:ext cx="5886994" cy="40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955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sp>
        <p:nvSpPr>
          <p:cNvPr id="7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05834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019601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9A089F-BBAD-40D5-B4C5-04A3D7A608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992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99890" cy="523220"/>
          </a:xfrm>
          <a:prstGeom prst="rect">
            <a:avLst/>
          </a:prstGeom>
        </p:spPr>
        <p:txBody>
          <a:bodyPr vert="horz" wrap="square" lIns="0" rIns="0" anchor="ctr">
            <a:spAutoFit/>
          </a:bodyPr>
          <a:lstStyle>
            <a:lvl1pPr>
              <a:lnSpc>
                <a:spcPct val="100000"/>
              </a:lnSpc>
              <a:defRPr sz="2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endParaRPr lang="ru-RU" sz="2800" b="1" kern="1200" dirty="0">
              <a:solidFill>
                <a:srgbClr val="0055BB"/>
              </a:solidFill>
              <a:latin typeface="Montserrat" panose="00000500000000000000" pitchFamily="2" charset="-52"/>
              <a:ea typeface="+mj-ea"/>
              <a:cs typeface="+mj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138" y="170399"/>
            <a:ext cx="1656000" cy="883200"/>
          </a:xfrm>
          <a:prstGeom prst="rect">
            <a:avLst/>
          </a:prstGeom>
        </p:spPr>
      </p:pic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-2009457" y="1613180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-2009457" y="2292920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7" name="Рисунок 2">
            <a:extLst>
              <a:ext uri="{FF2B5EF4-FFF2-40B4-BE49-F238E27FC236}">
                <a16:creationId xmlns:a16="http://schemas.microsoft.com/office/drawing/2014/main" id="{BA4F9E05-428F-4B6D-AE37-0CE46376EA9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572" y="6412914"/>
            <a:ext cx="1812436" cy="357088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9A2839-71AE-43FF-AE16-27D033107267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768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синя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762" y="170399"/>
            <a:ext cx="1656000" cy="8832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73513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43DE57E-711D-404D-B188-192C4B659303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446839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8900951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E46C2A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956" y="-135287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00D0962-6951-42C9-AAB7-A8419B4562CD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94685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сер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DD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03283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0055BB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525956" y="-144001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2077ADA-551A-4656-A047-B811D4148796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6757290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94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60194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027023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69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5904468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9CD2FE-B625-4542-8023-6997F6AA9102}"/>
              </a:ext>
            </a:extLst>
          </p:cNvPr>
          <p:cNvSpPr/>
          <p:nvPr userDrawn="1"/>
        </p:nvSpPr>
        <p:spPr>
          <a:xfrm>
            <a:off x="0" y="6273800"/>
            <a:ext cx="122682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16515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6418217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6418217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6418217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9250"/>
            <a:ext cx="5886994" cy="40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101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sp>
        <p:nvSpPr>
          <p:cNvPr id="7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05834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979755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3F90B8-00E5-4A99-A84D-2E26B5BF6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9310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1">
            <a:extLst>
              <a:ext uri="{FF2B5EF4-FFF2-40B4-BE49-F238E27FC236}">
                <a16:creationId xmlns:a16="http://schemas.microsoft.com/office/drawing/2014/main" id="{740722F9-3344-4814-AF06-B96FE6BD4528}"/>
              </a:ext>
            </a:extLst>
          </p:cNvPr>
          <p:cNvSpPr/>
          <p:nvPr userDrawn="1"/>
        </p:nvSpPr>
        <p:spPr>
          <a:xfrm>
            <a:off x="11490456" y="6453188"/>
            <a:ext cx="150682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r"/>
            <a:fld id="{14D38384-7A71-42FD-A8FA-E9EF1AAD0FA2}" type="slidenum">
              <a:rPr lang="ru-RU" sz="9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r"/>
              <a:t>‹#›</a:t>
            </a:fld>
            <a:endParaRPr lang="ru-RU" sz="9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pic>
        <p:nvPicPr>
          <p:cNvPr id="4" name="Рисунок 2">
            <a:extLst>
              <a:ext uri="{FF2B5EF4-FFF2-40B4-BE49-F238E27FC236}">
                <a16:creationId xmlns:a16="http://schemas.microsoft.com/office/drawing/2014/main" id="{CE6B3CF7-F27C-4B62-9608-C9D92F1A9D6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572" y="6412914"/>
            <a:ext cx="1812436" cy="357088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1C84A0-241D-40C9-9016-D025D5CBD1A0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9666DEC-8863-4095-99B4-33B231365B8B}"/>
              </a:ext>
            </a:extLst>
          </p:cNvPr>
          <p:cNvSpPr/>
          <p:nvPr userDrawn="1"/>
        </p:nvSpPr>
        <p:spPr>
          <a:xfrm>
            <a:off x="12540509" y="41781"/>
            <a:ext cx="288656" cy="658592"/>
          </a:xfrm>
          <a:prstGeom prst="rect">
            <a:avLst/>
          </a:prstGeom>
          <a:solidFill>
            <a:srgbClr val="F27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B25E9AE-27AE-4D8A-BF9C-74DB74944BC7}"/>
              </a:ext>
            </a:extLst>
          </p:cNvPr>
          <p:cNvSpPr/>
          <p:nvPr userDrawn="1"/>
        </p:nvSpPr>
        <p:spPr>
          <a:xfrm>
            <a:off x="12540509" y="912611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E0294C4-7813-47B8-AC7E-97A05351A900}"/>
              </a:ext>
            </a:extLst>
          </p:cNvPr>
          <p:cNvSpPr/>
          <p:nvPr userDrawn="1"/>
        </p:nvSpPr>
        <p:spPr>
          <a:xfrm>
            <a:off x="12540508" y="1783441"/>
            <a:ext cx="288656" cy="658592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9FFAE6D-C8DF-4434-B953-AD0F201278E4}"/>
              </a:ext>
            </a:extLst>
          </p:cNvPr>
          <p:cNvSpPr/>
          <p:nvPr userDrawn="1"/>
        </p:nvSpPr>
        <p:spPr>
          <a:xfrm>
            <a:off x="12540508" y="2654271"/>
            <a:ext cx="288656" cy="658592"/>
          </a:xfrm>
          <a:prstGeom prst="rect">
            <a:avLst/>
          </a:prstGeom>
          <a:solidFill>
            <a:srgbClr val="7E7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86A4D82-6C9B-406F-8450-D0177499347F}"/>
              </a:ext>
            </a:extLst>
          </p:cNvPr>
          <p:cNvSpPr/>
          <p:nvPr userDrawn="1"/>
        </p:nvSpPr>
        <p:spPr>
          <a:xfrm>
            <a:off x="12540508" y="3525101"/>
            <a:ext cx="288656" cy="660945"/>
          </a:xfrm>
          <a:prstGeom prst="rect">
            <a:avLst/>
          </a:prstGeom>
          <a:solidFill>
            <a:srgbClr val="00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8">
            <a:extLst>
              <a:ext uri="{FF2B5EF4-FFF2-40B4-BE49-F238E27FC236}">
                <a16:creationId xmlns:a16="http://schemas.microsoft.com/office/drawing/2014/main" id="{4B084CF2-06B7-4B57-B7A4-0B8DC9E5AC03}"/>
              </a:ext>
            </a:extLst>
          </p:cNvPr>
          <p:cNvSpPr/>
          <p:nvPr userDrawn="1"/>
        </p:nvSpPr>
        <p:spPr>
          <a:xfrm>
            <a:off x="12530125" y="4398284"/>
            <a:ext cx="288656" cy="658592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16">
            <a:extLst>
              <a:ext uri="{FF2B5EF4-FFF2-40B4-BE49-F238E27FC236}">
                <a16:creationId xmlns:a16="http://schemas.microsoft.com/office/drawing/2014/main" id="{AF1CE4FC-2F95-42B0-AC52-DEE66DB43CB8}"/>
              </a:ext>
            </a:extLst>
          </p:cNvPr>
          <p:cNvSpPr/>
          <p:nvPr userDrawn="1"/>
        </p:nvSpPr>
        <p:spPr>
          <a:xfrm>
            <a:off x="12530125" y="5269114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17">
            <a:extLst>
              <a:ext uri="{FF2B5EF4-FFF2-40B4-BE49-F238E27FC236}">
                <a16:creationId xmlns:a16="http://schemas.microsoft.com/office/drawing/2014/main" id="{ACBDDCF5-5D3D-4C83-BE09-4C59C64F889C}"/>
              </a:ext>
            </a:extLst>
          </p:cNvPr>
          <p:cNvSpPr/>
          <p:nvPr userDrawn="1"/>
        </p:nvSpPr>
        <p:spPr>
          <a:xfrm>
            <a:off x="12530125" y="6139942"/>
            <a:ext cx="288656" cy="660945"/>
          </a:xfrm>
          <a:prstGeom prst="rect">
            <a:avLst/>
          </a:prstGeom>
          <a:solidFill>
            <a:srgbClr val="F17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405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79" r:id="rId4"/>
    <p:sldLayoutId id="2147483680" r:id="rId5"/>
    <p:sldLayoutId id="2147483675" r:id="rId6"/>
    <p:sldLayoutId id="2147483684" r:id="rId7"/>
    <p:sldLayoutId id="2147483682" r:id="rId8"/>
    <p:sldLayoutId id="214748368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777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370" userDrawn="1">
          <p15:clr>
            <a:srgbClr val="F26B43"/>
          </p15:clr>
        </p15:guide>
        <p15:guide id="6" pos="733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3F90B8-00E5-4A99-A84D-2E26B5BF6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D3F90B8-00E5-4A99-A84D-2E26B5BF6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1">
            <a:extLst>
              <a:ext uri="{FF2B5EF4-FFF2-40B4-BE49-F238E27FC236}">
                <a16:creationId xmlns:a16="http://schemas.microsoft.com/office/drawing/2014/main" id="{740722F9-3344-4814-AF06-B96FE6BD4528}"/>
              </a:ext>
            </a:extLst>
          </p:cNvPr>
          <p:cNvSpPr/>
          <p:nvPr userDrawn="1"/>
        </p:nvSpPr>
        <p:spPr>
          <a:xfrm>
            <a:off x="11490456" y="6453188"/>
            <a:ext cx="150682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r"/>
            <a:fld id="{14D38384-7A71-42FD-A8FA-E9EF1AAD0FA2}" type="slidenum">
              <a:rPr lang="ru-RU" sz="9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r"/>
              <a:t>‹#›</a:t>
            </a:fld>
            <a:endParaRPr lang="ru-RU" sz="9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1C84A0-241D-40C9-9016-D025D5CBD1A0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9666DEC-8863-4095-99B4-33B231365B8B}"/>
              </a:ext>
            </a:extLst>
          </p:cNvPr>
          <p:cNvSpPr/>
          <p:nvPr userDrawn="1"/>
        </p:nvSpPr>
        <p:spPr>
          <a:xfrm>
            <a:off x="12540509" y="41781"/>
            <a:ext cx="288656" cy="658592"/>
          </a:xfrm>
          <a:prstGeom prst="rect">
            <a:avLst/>
          </a:prstGeom>
          <a:solidFill>
            <a:srgbClr val="F27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B25E9AE-27AE-4D8A-BF9C-74DB74944BC7}"/>
              </a:ext>
            </a:extLst>
          </p:cNvPr>
          <p:cNvSpPr/>
          <p:nvPr userDrawn="1"/>
        </p:nvSpPr>
        <p:spPr>
          <a:xfrm>
            <a:off x="12540509" y="912611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E0294C4-7813-47B8-AC7E-97A05351A900}"/>
              </a:ext>
            </a:extLst>
          </p:cNvPr>
          <p:cNvSpPr/>
          <p:nvPr userDrawn="1"/>
        </p:nvSpPr>
        <p:spPr>
          <a:xfrm>
            <a:off x="12540508" y="1783441"/>
            <a:ext cx="288656" cy="658592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9FFAE6D-C8DF-4434-B953-AD0F201278E4}"/>
              </a:ext>
            </a:extLst>
          </p:cNvPr>
          <p:cNvSpPr/>
          <p:nvPr userDrawn="1"/>
        </p:nvSpPr>
        <p:spPr>
          <a:xfrm>
            <a:off x="12540508" y="2654271"/>
            <a:ext cx="288656" cy="658592"/>
          </a:xfrm>
          <a:prstGeom prst="rect">
            <a:avLst/>
          </a:prstGeom>
          <a:solidFill>
            <a:srgbClr val="7E7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86A4D82-6C9B-406F-8450-D0177499347F}"/>
              </a:ext>
            </a:extLst>
          </p:cNvPr>
          <p:cNvSpPr/>
          <p:nvPr userDrawn="1"/>
        </p:nvSpPr>
        <p:spPr>
          <a:xfrm>
            <a:off x="12540508" y="3525101"/>
            <a:ext cx="288656" cy="660945"/>
          </a:xfrm>
          <a:prstGeom prst="rect">
            <a:avLst/>
          </a:prstGeom>
          <a:solidFill>
            <a:srgbClr val="00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8">
            <a:extLst>
              <a:ext uri="{FF2B5EF4-FFF2-40B4-BE49-F238E27FC236}">
                <a16:creationId xmlns:a16="http://schemas.microsoft.com/office/drawing/2014/main" id="{4B084CF2-06B7-4B57-B7A4-0B8DC9E5AC03}"/>
              </a:ext>
            </a:extLst>
          </p:cNvPr>
          <p:cNvSpPr/>
          <p:nvPr userDrawn="1"/>
        </p:nvSpPr>
        <p:spPr>
          <a:xfrm>
            <a:off x="12530125" y="4398284"/>
            <a:ext cx="288656" cy="658592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16">
            <a:extLst>
              <a:ext uri="{FF2B5EF4-FFF2-40B4-BE49-F238E27FC236}">
                <a16:creationId xmlns:a16="http://schemas.microsoft.com/office/drawing/2014/main" id="{AF1CE4FC-2F95-42B0-AC52-DEE66DB43CB8}"/>
              </a:ext>
            </a:extLst>
          </p:cNvPr>
          <p:cNvSpPr/>
          <p:nvPr userDrawn="1"/>
        </p:nvSpPr>
        <p:spPr>
          <a:xfrm>
            <a:off x="12530125" y="5269114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17">
            <a:extLst>
              <a:ext uri="{FF2B5EF4-FFF2-40B4-BE49-F238E27FC236}">
                <a16:creationId xmlns:a16="http://schemas.microsoft.com/office/drawing/2014/main" id="{ACBDDCF5-5D3D-4C83-BE09-4C59C64F889C}"/>
              </a:ext>
            </a:extLst>
          </p:cNvPr>
          <p:cNvSpPr/>
          <p:nvPr userDrawn="1"/>
        </p:nvSpPr>
        <p:spPr>
          <a:xfrm>
            <a:off x="12530125" y="6139942"/>
            <a:ext cx="288656" cy="660945"/>
          </a:xfrm>
          <a:prstGeom prst="rect">
            <a:avLst/>
          </a:prstGeom>
          <a:solidFill>
            <a:srgbClr val="F17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628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777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370">
          <p15:clr>
            <a:srgbClr val="F26B43"/>
          </p15:clr>
        </p15:guide>
        <p15:guide id="6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8C6CFF-7845-3347-A128-9936346DD1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10026" y="2613779"/>
            <a:ext cx="9835472" cy="2462213"/>
          </a:xfrm>
        </p:spPr>
        <p:txBody>
          <a:bodyPr/>
          <a:lstStyle/>
          <a:p>
            <a:r>
              <a:rPr lang="ru-RU" dirty="0">
                <a:latin typeface="+mn-lt"/>
              </a:rPr>
              <a:t>План проведения Научной сессии НИЯУ МИФИ</a:t>
            </a:r>
          </a:p>
          <a:p>
            <a:endParaRPr lang="ru-RU" sz="4400" dirty="0">
              <a:latin typeface="+mn-lt"/>
            </a:endParaRPr>
          </a:p>
          <a:p>
            <a:r>
              <a:rPr lang="ru-RU" sz="2800" dirty="0">
                <a:latin typeface="+mn-lt"/>
              </a:rPr>
              <a:t>29 января,</a:t>
            </a:r>
            <a:r>
              <a:rPr lang="en-US" sz="2800" dirty="0">
                <a:latin typeface="+mn-lt"/>
              </a:rPr>
              <a:t> 30</a:t>
            </a:r>
            <a:r>
              <a:rPr lang="ru-RU" sz="2800" dirty="0">
                <a:latin typeface="+mn-lt"/>
              </a:rPr>
              <a:t> января, 1 февраля 2024 г.</a:t>
            </a:r>
          </a:p>
        </p:txBody>
      </p:sp>
    </p:spTree>
    <p:extLst>
      <p:ext uri="{BB962C8B-B14F-4D97-AF65-F5344CB8AC3E}">
        <p14:creationId xmlns:p14="http://schemas.microsoft.com/office/powerpoint/2010/main" val="568921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908283" y="328665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9" name="Текст 9"/>
          <p:cNvSpPr>
            <a:spLocks noGrp="1"/>
          </p:cNvSpPr>
          <p:nvPr>
            <p:ph type="body" sz="quarter" idx="11"/>
          </p:nvPr>
        </p:nvSpPr>
        <p:spPr>
          <a:xfrm>
            <a:off x="2385785" y="1003998"/>
            <a:ext cx="6883761" cy="784830"/>
          </a:xfrm>
        </p:spPr>
        <p:txBody>
          <a:bodyPr/>
          <a:lstStyle/>
          <a:p>
            <a:pPr algn="ctr"/>
            <a:r>
              <a:rPr lang="ru-RU" sz="2000" b="1" dirty="0">
                <a:solidFill>
                  <a:schemeClr val="tx2"/>
                </a:solidFill>
              </a:rPr>
              <a:t>План проведения</a:t>
            </a:r>
          </a:p>
          <a:p>
            <a:pPr algn="ctr"/>
            <a:r>
              <a:rPr lang="ru-RU" sz="2000" b="1" dirty="0">
                <a:solidFill>
                  <a:schemeClr val="tx2"/>
                </a:solidFill>
              </a:rPr>
              <a:t>Основные мероприятия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373087"/>
              </p:ext>
            </p:extLst>
          </p:nvPr>
        </p:nvGraphicFramePr>
        <p:xfrm>
          <a:off x="582478" y="1863231"/>
          <a:ext cx="11027044" cy="4240593"/>
        </p:xfrm>
        <a:graphic>
          <a:graphicData uri="http://schemas.openxmlformats.org/drawingml/2006/table">
            <a:tbl>
              <a:tblPr firstRow="1" firstCol="1" bandRow="1"/>
              <a:tblGrid>
                <a:gridCol w="1846745">
                  <a:extLst>
                    <a:ext uri="{9D8B030D-6E8A-4147-A177-3AD203B41FA5}">
                      <a16:colId xmlns:a16="http://schemas.microsoft.com/office/drawing/2014/main" val="779700260"/>
                    </a:ext>
                  </a:extLst>
                </a:gridCol>
                <a:gridCol w="9180299">
                  <a:extLst>
                    <a:ext uri="{9D8B030D-6E8A-4147-A177-3AD203B41FA5}">
                      <a16:colId xmlns:a16="http://schemas.microsoft.com/office/drawing/2014/main" val="444136676"/>
                    </a:ext>
                  </a:extLst>
                </a:gridCol>
              </a:tblGrid>
              <a:tr h="371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29 января 2024 г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Заслушивание ключевых научных докладов институтов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2032459"/>
                  </a:ext>
                </a:extLst>
              </a:tr>
              <a:tr h="371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30 января 2024 г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Заслушивание докладов о развитии научной деятельности филиалов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221268"/>
                  </a:ext>
                </a:extLst>
              </a:tr>
              <a:tr h="371875">
                <a:tc rowSpan="9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 февраля 2024 г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родвижении научной повестки НИЯУ МИФИ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0180345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</a:t>
                      </a:r>
                      <a:r>
                        <a:rPr lang="ru-RU" sz="16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сотрудничества с ГК «Росатом» по созданию промышленных ядерных технологий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7391505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убликационной активности ученых НИЯУ МИФИ, «</a:t>
                      </a:r>
                      <a:r>
                        <a:rPr lang="ru-RU" sz="16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еостепенённые</a:t>
                      </a:r>
                      <a:r>
                        <a:rPr lang="ru-RU" sz="16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» преподаватели НИЯУ МИФИ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220338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Montserrat" panose="020B0604020202020204" charset="0"/>
                          <a:cs typeface="Montserrat" panose="020B0604020202020204" charset="0"/>
                        </a:rPr>
                        <a:t>О продвижении результатов научно-исследовательской и издательской деятельности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213204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 журналов НИЯУ МИФ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594429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Репозиторий</a:t>
                      </a: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и развитие открытых данных НИЯУ МИФ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0174546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методической издательской деятельности</a:t>
                      </a:r>
                      <a:r>
                        <a:rPr lang="ru-RU" sz="16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НИЯУ МИФИ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5458750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инновационной деятельности НИЯУ МИФ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989638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Круглый стол «О работе аспирантуры и диссертационных советов НИЯУ МИФИ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322807"/>
                  </a:ext>
                </a:extLst>
              </a:tr>
            </a:tbl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053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536325" y="251589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482081" y="710866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29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781342"/>
              </p:ext>
            </p:extLst>
          </p:nvPr>
        </p:nvGraphicFramePr>
        <p:xfrm>
          <a:off x="550416" y="1415162"/>
          <a:ext cx="11322694" cy="43002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8271">
                  <a:extLst>
                    <a:ext uri="{9D8B030D-6E8A-4147-A177-3AD203B41FA5}">
                      <a16:colId xmlns:a16="http://schemas.microsoft.com/office/drawing/2014/main" val="2893716720"/>
                    </a:ext>
                  </a:extLst>
                </a:gridCol>
                <a:gridCol w="1340529">
                  <a:extLst>
                    <a:ext uri="{9D8B030D-6E8A-4147-A177-3AD203B41FA5}">
                      <a16:colId xmlns:a16="http://schemas.microsoft.com/office/drawing/2014/main" val="964140194"/>
                    </a:ext>
                  </a:extLst>
                </a:gridCol>
                <a:gridCol w="9493894">
                  <a:extLst>
                    <a:ext uri="{9D8B030D-6E8A-4147-A177-3AD203B41FA5}">
                      <a16:colId xmlns:a16="http://schemas.microsoft.com/office/drawing/2014/main" val="3083518498"/>
                    </a:ext>
                  </a:extLst>
                </a:gridCol>
              </a:tblGrid>
              <a:tr h="46674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/п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роведения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69450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9.00 – 10.00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ибытие и регистрация участников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858985789"/>
                  </a:ext>
                </a:extLst>
              </a:tr>
              <a:tr h="23049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00 – 10.1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Приветственное слово ректора НИЯУ МИФИ Шевченко В.И.</a:t>
                      </a: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39464"/>
                  </a:ext>
                </a:extLst>
              </a:tr>
              <a:tr h="3499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15 – 10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Физика экстремального состояния вещества на лазерном комплексе ЭЛЬФ: исследовательская программа и статус проекта»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- Кузнецов Андрей Петрович,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.ф-м.н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директор института лазерных и плазменных технологий НИЯУ МИФИ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8453614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30 – 10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394237480"/>
                  </a:ext>
                </a:extLst>
              </a:tr>
              <a:tr h="4182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2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35 – 10.5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«НИЯУ МИФИ в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коллаборациях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мегасайенс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-проекта NICA: статус участия»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– Тараненко Аркадий Владимирович, PhD, доцент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410931272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50 – 10.5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612703232"/>
                  </a:ext>
                </a:extLst>
              </a:tr>
              <a:tr h="3322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3.</a:t>
                      </a: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55 – 11.1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Современные физические методы диагностики малых концентраций органических и биоорганических соединений»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Чистяков Александр Александрович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.ф-м.н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профессор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110292480"/>
                  </a:ext>
                </a:extLst>
              </a:tr>
              <a:tr h="24934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10 – 11.1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938192833"/>
                  </a:ext>
                </a:extLst>
              </a:tr>
              <a:tr h="3322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4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15 – 11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Повышение эффективности работы реакторов на быстрых нейтронах с инновационными топливными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композициями»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Montserrat" panose="020B0604020202020204" charset="0"/>
                        <a:ea typeface="+mn-ea"/>
                        <a:cs typeface="Montserrat" panose="020B0604020202020204" charset="0"/>
                      </a:endParaRP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– Тарасова Мария Сергеевна, к.т.н., главный специалист ИПЯТ НИЯУ МИФИ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10431513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30 – 11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62751123"/>
                  </a:ext>
                </a:extLst>
              </a:tr>
              <a:tr h="2596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35 – 11.5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Биологические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in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vitro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и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in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vivo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латформы для доклинических исследований инновационных лекарственных средств и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аноматериалов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»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Блинова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Екатерина Валериевна, д.м.н., заведующий кафедрой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615422295"/>
                  </a:ext>
                </a:extLst>
              </a:tr>
              <a:tr h="2596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50 – 11.5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4841162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15667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575070" y="284613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575070" y="679402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29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8877626"/>
              </p:ext>
            </p:extLst>
          </p:nvPr>
        </p:nvGraphicFramePr>
        <p:xfrm>
          <a:off x="399081" y="1048734"/>
          <a:ext cx="11568017" cy="51278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5772">
                  <a:extLst>
                    <a:ext uri="{9D8B030D-6E8A-4147-A177-3AD203B41FA5}">
                      <a16:colId xmlns:a16="http://schemas.microsoft.com/office/drawing/2014/main" val="2893716720"/>
                    </a:ext>
                  </a:extLst>
                </a:gridCol>
                <a:gridCol w="1240349">
                  <a:extLst>
                    <a:ext uri="{9D8B030D-6E8A-4147-A177-3AD203B41FA5}">
                      <a16:colId xmlns:a16="http://schemas.microsoft.com/office/drawing/2014/main" val="964140194"/>
                    </a:ext>
                  </a:extLst>
                </a:gridCol>
                <a:gridCol w="9841896">
                  <a:extLst>
                    <a:ext uri="{9D8B030D-6E8A-4147-A177-3AD203B41FA5}">
                      <a16:colId xmlns:a16="http://schemas.microsoft.com/office/drawing/2014/main" val="3083518498"/>
                    </a:ext>
                  </a:extLst>
                </a:gridCol>
              </a:tblGrid>
              <a:tr h="1484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/п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694509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0000500000000000000" pitchFamily="2" charset="-52"/>
                          <a:cs typeface="Montserrat" panose="020B0604020202020204" charset="0"/>
                        </a:rPr>
                        <a:t>6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Montserrat" panose="00000500000000000000" pitchFamily="2" charset="-52"/>
                          <a:cs typeface="Montserrat" panose="020B0604020202020204" charset="0"/>
                        </a:rPr>
                        <a:t>11.55 – 12.1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  «</a:t>
                      </a: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Конвергенция методов машинного обучения и символьного искусственного интеллекта в проектах Исследовательского центра ИИ НИЯУ МИФИ в области транспорта и логистики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Докладчик - Климов Валентин Вячеславович, к.т.н., и.о. директора института интеллектуальных кибернетических систем</a:t>
                      </a:r>
                      <a:endParaRPr lang="ru-RU" sz="1200" b="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424955865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2.10 – 12.1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2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8049301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7.</a:t>
                      </a: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2.15 – 12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«Использование искусственного интеллекта при анализе международных отношений»</a:t>
                      </a:r>
                    </a:p>
                    <a:p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Докладчик: Артамонов Алексей Анатольевич, к.т.н., доцент, заведующий кафедрой анализа конкурентных систем института международных отношений</a:t>
                      </a:r>
                      <a:endParaRPr lang="ru-RU" sz="12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21357293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30 – 12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046717815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8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en-US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2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35 – 12.5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Квантово-стойкая криптография и перспективы её развития»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Запечников Сергей Владимирович, д.т.н., профессор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894431656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50 – 12.5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798259973"/>
                  </a:ext>
                </a:extLst>
              </a:tr>
              <a:tr h="3260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9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55 – 13.1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Криптопирамиды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: новые вызовы и угрозы ПОД/ФТ»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Морозов Николай Владимирович, к.э.н., доцент кафедры финансового мониторинга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87166840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10 – 13.1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156425092"/>
                  </a:ext>
                </a:extLst>
              </a:tr>
              <a:tr h="5939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15 – 13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Основы российской государственности» для инженерно-технических и естественно-научных специальностей: история создания, структура, методология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Уваров Павел Юрьевич, д.и.н., член-корреспондент РАН, заведующий лабораторией социальной истории и антропологии науки центра изучения культурного наследия Института фундаментальных проблем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социо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-гуманитарных наук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993053824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30 – 13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3095059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35 – 13.5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Гуманитарно-технологическая революция и смена устаревших экономических парадигм»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Агеев Александр Иванович, д.э.н., заведующий кафедрой управления бизнес проектами, профессор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503539857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50 – 13.5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36512053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4.00</a:t>
                      </a:r>
                      <a:r>
                        <a:rPr lang="ru-RU" sz="12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5.30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ед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42802228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5.30 – 17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ы молодых ученых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0122390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73560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98710" y="242834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575070" y="735277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30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720624"/>
              </p:ext>
            </p:extLst>
          </p:nvPr>
        </p:nvGraphicFramePr>
        <p:xfrm>
          <a:off x="575070" y="1247497"/>
          <a:ext cx="11214476" cy="48315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7637">
                  <a:extLst>
                    <a:ext uri="{9D8B030D-6E8A-4147-A177-3AD203B41FA5}">
                      <a16:colId xmlns:a16="http://schemas.microsoft.com/office/drawing/2014/main" val="1192780861"/>
                    </a:ext>
                  </a:extLst>
                </a:gridCol>
                <a:gridCol w="1263503">
                  <a:extLst>
                    <a:ext uri="{9D8B030D-6E8A-4147-A177-3AD203B41FA5}">
                      <a16:colId xmlns:a16="http://schemas.microsoft.com/office/drawing/2014/main" val="3454520949"/>
                    </a:ext>
                  </a:extLst>
                </a:gridCol>
                <a:gridCol w="3801425">
                  <a:extLst>
                    <a:ext uri="{9D8B030D-6E8A-4147-A177-3AD203B41FA5}">
                      <a16:colId xmlns:a16="http://schemas.microsoft.com/office/drawing/2014/main" val="132233718"/>
                    </a:ext>
                  </a:extLst>
                </a:gridCol>
                <a:gridCol w="594804">
                  <a:extLst>
                    <a:ext uri="{9D8B030D-6E8A-4147-A177-3AD203B41FA5}">
                      <a16:colId xmlns:a16="http://schemas.microsoft.com/office/drawing/2014/main" val="2096792576"/>
                    </a:ext>
                  </a:extLst>
                </a:gridCol>
                <a:gridCol w="1251751">
                  <a:extLst>
                    <a:ext uri="{9D8B030D-6E8A-4147-A177-3AD203B41FA5}">
                      <a16:colId xmlns:a16="http://schemas.microsoft.com/office/drawing/2014/main" val="3767796582"/>
                    </a:ext>
                  </a:extLst>
                </a:gridCol>
                <a:gridCol w="3675356">
                  <a:extLst>
                    <a:ext uri="{9D8B030D-6E8A-4147-A177-3AD203B41FA5}">
                      <a16:colId xmlns:a16="http://schemas.microsoft.com/office/drawing/2014/main" val="1550831084"/>
                    </a:ext>
                  </a:extLst>
                </a:gridCol>
              </a:tblGrid>
              <a:tr h="4123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/п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ы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п/п</a:t>
                      </a: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ремя проведения</a:t>
                      </a: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ы</a:t>
                      </a: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9554738"/>
                  </a:ext>
                </a:extLst>
              </a:tr>
              <a:tr h="322900">
                <a:tc gridSpan="6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             </a:t>
                      </a:r>
                      <a:r>
                        <a:rPr lang="ru-RU" sz="1300" b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09.00 – 10.00                     Прибытие и регистрация участников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0" kern="1200" dirty="0">
                        <a:solidFill>
                          <a:schemeClr val="dk1"/>
                        </a:solidFill>
                        <a:effectLst/>
                        <a:latin typeface="Montserrat" panose="020B0604020202020204" charset="0"/>
                        <a:ea typeface="+mn-ea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6178984"/>
                  </a:ext>
                </a:extLst>
              </a:tr>
              <a:tr h="306312">
                <a:tc gridSpan="6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              10.00 – 10.15                    Приветственное слово ректора НИЯУ МИФИ Шевченко В.И.</a:t>
                      </a: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0" kern="1200" dirty="0">
                        <a:solidFill>
                          <a:schemeClr val="dk1"/>
                        </a:solidFill>
                        <a:effectLst/>
                        <a:latin typeface="Montserrat" panose="020B0604020202020204" charset="0"/>
                        <a:ea typeface="+mn-ea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292318"/>
                  </a:ext>
                </a:extLst>
              </a:tr>
              <a:tr h="4569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15 – 10.3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ИАТЭ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Панов А.В., и. о. директора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7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05 – 12.2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ОТИ НИЯУ МИФИ</a:t>
                      </a: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Иванов И.А., директор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779560"/>
                  </a:ext>
                </a:extLst>
              </a:tr>
              <a:tr h="47051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2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3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 – 10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4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 err="1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СарФТИ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Сироткина А.Г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8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20 – 12.3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ТИ НИЯУ МИФИ</a:t>
                      </a: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Рябцун В.В., директор</a:t>
                      </a:r>
                      <a:endParaRPr lang="ru-RU" sz="1300" dirty="0">
                        <a:effectLst/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206913447"/>
                  </a:ext>
                </a:extLst>
              </a:tr>
              <a:tr h="5060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3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45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– 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СФ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Линник О.В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</a:rPr>
                        <a:t>12.35 – 12.5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</a:rPr>
                        <a:t>Обсуждение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700001670"/>
                  </a:ext>
                </a:extLst>
              </a:tr>
              <a:tr h="49714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4.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 – 1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ВИ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Руденко В.А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9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55 – 13.1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ТТИ НИЯУ МИФИ</a:t>
                      </a: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Улитина Т.И., директор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2470113904"/>
                  </a:ext>
                </a:extLst>
              </a:tr>
              <a:tr h="2668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 – 1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3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бсуждение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10 – 13.2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НТИ НИЯУ МИФИ</a:t>
                      </a: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Карякин А.В., и.о. руководителя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798288"/>
                  </a:ext>
                </a:extLst>
              </a:tr>
              <a:tr h="5686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35 – 11.5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С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Карпов С.А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25 – 13.4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БИТИ НИЯУ МИФИ</a:t>
                      </a: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Земсков В.М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402732105"/>
                  </a:ext>
                </a:extLst>
              </a:tr>
              <a:tr h="470516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6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50 – 12.0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И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Бегинина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И.И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40 – 13.55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НВПИ НИЯУ МИФИ</a:t>
                      </a: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Булатова Е.Н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815802"/>
                  </a:ext>
                </a:extLst>
              </a:tr>
              <a:tr h="41236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chemeClr val="tx1"/>
                        </a:solidFill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55 – 14.15</a:t>
                      </a: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1982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99294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35428" y="204921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605249" y="697364"/>
            <a:ext cx="7757516" cy="646331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1 февраля 2024  г.     </a:t>
            </a:r>
            <a:endParaRPr lang="ru-RU" sz="12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7122945"/>
              </p:ext>
            </p:extLst>
          </p:nvPr>
        </p:nvGraphicFramePr>
        <p:xfrm>
          <a:off x="635428" y="1189807"/>
          <a:ext cx="11081292" cy="49465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2565">
                  <a:extLst>
                    <a:ext uri="{9D8B030D-6E8A-4147-A177-3AD203B41FA5}">
                      <a16:colId xmlns:a16="http://schemas.microsoft.com/office/drawing/2014/main" val="1005349286"/>
                    </a:ext>
                  </a:extLst>
                </a:gridCol>
                <a:gridCol w="7169566">
                  <a:extLst>
                    <a:ext uri="{9D8B030D-6E8A-4147-A177-3AD203B41FA5}">
                      <a16:colId xmlns:a16="http://schemas.microsoft.com/office/drawing/2014/main" val="2510387480"/>
                    </a:ext>
                  </a:extLst>
                </a:gridCol>
                <a:gridCol w="2199161">
                  <a:extLst>
                    <a:ext uri="{9D8B030D-6E8A-4147-A177-3AD203B41FA5}">
                      <a16:colId xmlns:a16="http://schemas.microsoft.com/office/drawing/2014/main" val="1859125012"/>
                    </a:ext>
                  </a:extLst>
                </a:gridCol>
              </a:tblGrid>
              <a:tr h="5135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110419"/>
                  </a:ext>
                </a:extLst>
              </a:tr>
              <a:tr h="37521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9.00 – 10.0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ибытие и регистрация участников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4654969"/>
                  </a:ext>
                </a:extLst>
              </a:tr>
              <a:tr h="34507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00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0.1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Приветственное слово – сообщ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Шевченко В.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03766340"/>
                  </a:ext>
                </a:extLst>
              </a:tr>
              <a:tr h="34552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15 – 10.25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родвижении научной повестки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Тихомиров Г.В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69468375"/>
                  </a:ext>
                </a:extLst>
              </a:tr>
              <a:tr h="3054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25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0.3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57956221"/>
                  </a:ext>
                </a:extLst>
              </a:tr>
              <a:tr h="5303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40 – 10.5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50 – 11.0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убликационной активности ученых НИЯУ МИФИ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«</a:t>
                      </a:r>
                      <a:r>
                        <a:rPr lang="ru-RU" sz="14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еостепенённые</a:t>
                      </a: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» преподаватели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Киреев С.В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Стукалова Т.Н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33082588"/>
                  </a:ext>
                </a:extLst>
              </a:tr>
              <a:tr h="2834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00 – 11.2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75942200"/>
                  </a:ext>
                </a:extLst>
              </a:tr>
              <a:tr h="3462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25 – 11.4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инновационной деятельности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Каргин Н.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7127883"/>
                  </a:ext>
                </a:extLst>
              </a:tr>
              <a:tr h="31071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40 – 11.5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60503387"/>
                  </a:ext>
                </a:extLst>
              </a:tr>
              <a:tr h="5303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55 – 12.1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</a:t>
                      </a:r>
                      <a:r>
                        <a:rPr lang="ru-RU" sz="14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сотрудничества с ГК «Росатом» по созданию промышленных ядерных технологий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Глаговский</a:t>
                      </a: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Э.М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65181447"/>
                  </a:ext>
                </a:extLst>
              </a:tr>
              <a:tr h="3294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10 – 12.2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47465641"/>
                  </a:ext>
                </a:extLst>
              </a:tr>
              <a:tr h="3696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25 – 12.35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Продвижение результатов научно-исследовательской и издательской деятельности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Барбашина Н.С., </a:t>
                      </a:r>
                      <a:endParaRPr lang="ru-RU" sz="1400" dirty="0"/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59686859"/>
                  </a:ext>
                </a:extLst>
              </a:tr>
              <a:tr h="3615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35 – 12.5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 журналов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Смирнов</a:t>
                      </a:r>
                      <a:r>
                        <a:rPr lang="ru-RU" sz="14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А.Д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41064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56839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35428" y="204921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605249" y="697364"/>
            <a:ext cx="8201400" cy="646331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1 февраля 2024  г.     </a:t>
            </a:r>
            <a:endParaRPr lang="ru-RU" sz="12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0423614"/>
              </p:ext>
            </p:extLst>
          </p:nvPr>
        </p:nvGraphicFramePr>
        <p:xfrm>
          <a:off x="635428" y="1343695"/>
          <a:ext cx="11080472" cy="48690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5112">
                  <a:extLst>
                    <a:ext uri="{9D8B030D-6E8A-4147-A177-3AD203B41FA5}">
                      <a16:colId xmlns:a16="http://schemas.microsoft.com/office/drawing/2014/main" val="1005349286"/>
                    </a:ext>
                  </a:extLst>
                </a:gridCol>
                <a:gridCol w="6383044">
                  <a:extLst>
                    <a:ext uri="{9D8B030D-6E8A-4147-A177-3AD203B41FA5}">
                      <a16:colId xmlns:a16="http://schemas.microsoft.com/office/drawing/2014/main" val="2510387480"/>
                    </a:ext>
                  </a:extLst>
                </a:gridCol>
                <a:gridCol w="3122316">
                  <a:extLst>
                    <a:ext uri="{9D8B030D-6E8A-4147-A177-3AD203B41FA5}">
                      <a16:colId xmlns:a16="http://schemas.microsoft.com/office/drawing/2014/main" val="1859125012"/>
                    </a:ext>
                  </a:extLst>
                </a:gridCol>
              </a:tblGrid>
              <a:tr h="62073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110419"/>
                  </a:ext>
                </a:extLst>
              </a:tr>
              <a:tr h="3615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50 – 13.05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Репозиторий</a:t>
                      </a: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и развитие открытых данных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Стукалова Т.Н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53541686"/>
                  </a:ext>
                </a:extLst>
              </a:tr>
              <a:tr h="3018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05 – 13.2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9261009"/>
                  </a:ext>
                </a:extLst>
              </a:tr>
              <a:tr h="3817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25 – 13.45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методической издательской деятельности</a:t>
                      </a:r>
                      <a:r>
                        <a:rPr lang="ru-RU" sz="14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есна Е.Б., Нагорнов О.В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14547405"/>
                  </a:ext>
                </a:extLst>
              </a:tr>
              <a:tr h="32847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45 – 13.55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823865"/>
                  </a:ext>
                </a:extLst>
              </a:tr>
              <a:tr h="4172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4.00 – 15.3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бед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35915166"/>
                  </a:ext>
                </a:extLst>
              </a:tr>
              <a:tr h="55041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5.30 – 17.5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Круглый стол «О работе аспирантуры и диссертационных советов НИЯУ МИФИ»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0966684"/>
                  </a:ext>
                </a:extLst>
              </a:tr>
              <a:tr h="3906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5.30 – 16.0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- О работе аспирантуры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агорнов О.В., Самойленко Н.В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16797926"/>
                  </a:ext>
                </a:extLst>
              </a:tr>
              <a:tr h="3639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00 – 16.3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- О работе диссертационных советов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Кудряшов Н.А., Карандаев И.Ю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8235759"/>
                  </a:ext>
                </a:extLst>
              </a:tr>
              <a:tr h="49714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6.30 – 17.5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- Сообщения институтов об актуальных вопросах работы с аспирантам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Руководители институто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1802160"/>
                  </a:ext>
                </a:extLst>
              </a:tr>
              <a:tr h="3952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7.50 – 18.1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- 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400" dirty="0"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77241019"/>
                  </a:ext>
                </a:extLst>
              </a:tr>
              <a:tr h="2600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8.10 – 18.3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Заключительное слово ректора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Шевченко В.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019595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598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569,7,Конструируем будущее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 МИФИ">
  <a:themeElements>
    <a:clrScheme name="Другая 7">
      <a:dk1>
        <a:srgbClr val="171616"/>
      </a:dk1>
      <a:lt1>
        <a:srgbClr val="FFFFFF"/>
      </a:lt1>
      <a:dk2>
        <a:srgbClr val="0055BB"/>
      </a:dk2>
      <a:lt2>
        <a:srgbClr val="E2E2E2"/>
      </a:lt2>
      <a:accent1>
        <a:srgbClr val="0055BB"/>
      </a:accent1>
      <a:accent2>
        <a:srgbClr val="00BBEE"/>
      </a:accent2>
      <a:accent3>
        <a:srgbClr val="FF5000"/>
      </a:accent3>
      <a:accent4>
        <a:srgbClr val="00B050"/>
      </a:accent4>
      <a:accent5>
        <a:srgbClr val="00FFCC"/>
      </a:accent5>
      <a:accent6>
        <a:srgbClr val="FF66CC"/>
      </a:accent6>
      <a:hlink>
        <a:srgbClr val="00BBEE"/>
      </a:hlink>
      <a:folHlink>
        <a:srgbClr val="FFAE89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800" b="1" dirty="0" smtClean="0">
            <a:solidFill>
              <a:schemeClr val="bg1"/>
            </a:solidFill>
            <a:latin typeface="Montserrat" panose="00000500000000000000" pitchFamily="2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Шаблон МИФИ">
  <a:themeElements>
    <a:clrScheme name="Другая 7">
      <a:dk1>
        <a:srgbClr val="171616"/>
      </a:dk1>
      <a:lt1>
        <a:srgbClr val="FFFFFF"/>
      </a:lt1>
      <a:dk2>
        <a:srgbClr val="0055BB"/>
      </a:dk2>
      <a:lt2>
        <a:srgbClr val="E2E2E2"/>
      </a:lt2>
      <a:accent1>
        <a:srgbClr val="0055BB"/>
      </a:accent1>
      <a:accent2>
        <a:srgbClr val="00BBEE"/>
      </a:accent2>
      <a:accent3>
        <a:srgbClr val="FF5000"/>
      </a:accent3>
      <a:accent4>
        <a:srgbClr val="00B050"/>
      </a:accent4>
      <a:accent5>
        <a:srgbClr val="00FFCC"/>
      </a:accent5>
      <a:accent6>
        <a:srgbClr val="FF66CC"/>
      </a:accent6>
      <a:hlink>
        <a:srgbClr val="00BBEE"/>
      </a:hlink>
      <a:folHlink>
        <a:srgbClr val="FFAE89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800" b="1" dirty="0" smtClean="0">
            <a:solidFill>
              <a:schemeClr val="bg1"/>
            </a:solidFill>
            <a:latin typeface="Montserrat" panose="00000500000000000000" pitchFamily="2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92</TotalTime>
  <Words>1190</Words>
  <Application>Microsoft Office PowerPoint</Application>
  <PresentationFormat>Широкоэкранный</PresentationFormat>
  <Paragraphs>268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3" baseType="lpstr">
      <vt:lpstr>Calibri</vt:lpstr>
      <vt:lpstr>Arial</vt:lpstr>
      <vt:lpstr>Montserrat</vt:lpstr>
      <vt:lpstr>Шаблон МИФИ</vt:lpstr>
      <vt:lpstr>1_Шаблон МИФИ</vt:lpstr>
      <vt:lpstr>think-cell Slide</vt:lpstr>
      <vt:lpstr>Презентация PowerPoint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лад Замахаев</dc:creator>
  <cp:lastModifiedBy>User</cp:lastModifiedBy>
  <cp:revision>1198</cp:revision>
  <cp:lastPrinted>2024-01-17T12:58:19Z</cp:lastPrinted>
  <dcterms:created xsi:type="dcterms:W3CDTF">2020-05-28T16:18:16Z</dcterms:created>
  <dcterms:modified xsi:type="dcterms:W3CDTF">2024-01-22T12:0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</Properties>
</file>